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15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9085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D6F3E5-C9ED-9A83-A817-EA757EB03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68B6E3E-668E-37CB-091D-C72EAEB234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8B6E3E-668E-37CB-091D-C72EAEB23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A3ED19-B71A-5810-2DA2-0C8139DC0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81DA5FB-57AC-0C76-ABAE-132CB9C030E5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DC95014-5DBB-F16E-EFFF-7588A98693BD}"/>
              </a:ext>
            </a:extLst>
          </p:cNvPr>
          <p:cNvGrpSpPr/>
          <p:nvPr/>
        </p:nvGrpSpPr>
        <p:grpSpPr>
          <a:xfrm>
            <a:off x="8079464" y="2190644"/>
            <a:ext cx="2129075" cy="7080677"/>
            <a:chOff x="5280370" y="1645625"/>
            <a:chExt cx="1419383" cy="4164428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8230CCA-FB53-1B96-3BD7-B7FB7358D385}"/>
                </a:ext>
              </a:extLst>
            </p:cNvPr>
            <p:cNvSpPr/>
            <p:nvPr/>
          </p:nvSpPr>
          <p:spPr>
            <a:xfrm>
              <a:off x="5280370" y="1645625"/>
              <a:ext cx="555359" cy="4164428"/>
            </a:xfrm>
            <a:custGeom>
              <a:avLst/>
              <a:gdLst>
                <a:gd name="connsiteX0" fmla="*/ 0 w 714375"/>
                <a:gd name="connsiteY0" fmla="*/ 0 h 3114675"/>
                <a:gd name="connsiteX1" fmla="*/ 714375 w 714375"/>
                <a:gd name="connsiteY1" fmla="*/ 0 h 3114675"/>
                <a:gd name="connsiteX2" fmla="*/ 714375 w 714375"/>
                <a:gd name="connsiteY2" fmla="*/ 311467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4375" h="3114675">
                  <a:moveTo>
                    <a:pt x="0" y="0"/>
                  </a:moveTo>
                  <a:lnTo>
                    <a:pt x="714375" y="0"/>
                  </a:lnTo>
                  <a:lnTo>
                    <a:pt x="714375" y="3114675"/>
                  </a:lnTo>
                </a:path>
              </a:pathLst>
            </a:cu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420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7D02F49-B502-983E-4E6A-1E4209A0C0C0}"/>
                </a:ext>
              </a:extLst>
            </p:cNvPr>
            <p:cNvSpPr/>
            <p:nvPr/>
          </p:nvSpPr>
          <p:spPr>
            <a:xfrm flipH="1">
              <a:off x="6144394" y="1645625"/>
              <a:ext cx="555359" cy="4164428"/>
            </a:xfrm>
            <a:custGeom>
              <a:avLst/>
              <a:gdLst>
                <a:gd name="connsiteX0" fmla="*/ 0 w 714375"/>
                <a:gd name="connsiteY0" fmla="*/ 0 h 3114675"/>
                <a:gd name="connsiteX1" fmla="*/ 714375 w 714375"/>
                <a:gd name="connsiteY1" fmla="*/ 0 h 3114675"/>
                <a:gd name="connsiteX2" fmla="*/ 714375 w 714375"/>
                <a:gd name="connsiteY2" fmla="*/ 311467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4375" h="3114675">
                  <a:moveTo>
                    <a:pt x="0" y="0"/>
                  </a:moveTo>
                  <a:lnTo>
                    <a:pt x="714375" y="0"/>
                  </a:lnTo>
                  <a:lnTo>
                    <a:pt x="714375" y="3114675"/>
                  </a:lnTo>
                </a:path>
              </a:pathLst>
            </a:cu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420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56E76D76-A870-05C7-78C8-350AC373DB84}"/>
              </a:ext>
            </a:extLst>
          </p:cNvPr>
          <p:cNvSpPr>
            <a:spLocks/>
          </p:cNvSpPr>
          <p:nvPr/>
        </p:nvSpPr>
        <p:spPr>
          <a:xfrm>
            <a:off x="1098395" y="1843878"/>
            <a:ext cx="7551431" cy="734631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IN" sz="24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5F37194-C9B3-A39A-B7DF-4B6997E2F1C5}"/>
              </a:ext>
            </a:extLst>
          </p:cNvPr>
          <p:cNvSpPr>
            <a:spLocks/>
          </p:cNvSpPr>
          <p:nvPr/>
        </p:nvSpPr>
        <p:spPr>
          <a:xfrm>
            <a:off x="9638179" y="1843878"/>
            <a:ext cx="7551431" cy="734631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IN" sz="24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9" name="Shape1_20210427_203713">
            <a:extLst>
              <a:ext uri="{FF2B5EF4-FFF2-40B4-BE49-F238E27FC236}">
                <a16:creationId xmlns:a16="http://schemas.microsoft.com/office/drawing/2014/main" id="{1D97391F-4301-8820-907F-17598136359D}"/>
              </a:ext>
            </a:extLst>
          </p:cNvPr>
          <p:cNvSpPr/>
          <p:nvPr/>
        </p:nvSpPr>
        <p:spPr>
          <a:xfrm>
            <a:off x="2160551" y="3190312"/>
            <a:ext cx="6331626" cy="369332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24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0" name="Shape0_20220517_164050">
            <a:extLst>
              <a:ext uri="{FF2B5EF4-FFF2-40B4-BE49-F238E27FC236}">
                <a16:creationId xmlns:a16="http://schemas.microsoft.com/office/drawing/2014/main" id="{CBBD400E-E03F-9325-26D6-025DB772F068}"/>
              </a:ext>
            </a:extLst>
          </p:cNvPr>
          <p:cNvSpPr/>
          <p:nvPr/>
        </p:nvSpPr>
        <p:spPr>
          <a:xfrm>
            <a:off x="1098392" y="2991161"/>
            <a:ext cx="767639" cy="76763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36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1E3F48B2-B21D-47E1-C993-65E7F4D3BF93}"/>
              </a:ext>
            </a:extLst>
          </p:cNvPr>
          <p:cNvSpPr/>
          <p:nvPr/>
        </p:nvSpPr>
        <p:spPr>
          <a:xfrm>
            <a:off x="1266881" y="3211093"/>
            <a:ext cx="430679" cy="327764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1126073">
              <a:defRPr/>
            </a:pPr>
            <a:endParaRPr lang="en-IN" sz="36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2" name="Shape0_20210427_203713">
            <a:extLst>
              <a:ext uri="{FF2B5EF4-FFF2-40B4-BE49-F238E27FC236}">
                <a16:creationId xmlns:a16="http://schemas.microsoft.com/office/drawing/2014/main" id="{B6B049CA-CAA2-3ECD-F4D9-093D319A23F9}"/>
              </a:ext>
            </a:extLst>
          </p:cNvPr>
          <p:cNvSpPr/>
          <p:nvPr/>
        </p:nvSpPr>
        <p:spPr>
          <a:xfrm>
            <a:off x="10693871" y="3190312"/>
            <a:ext cx="6331626" cy="369332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24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3" name="Shape1_20220517_164050">
            <a:extLst>
              <a:ext uri="{FF2B5EF4-FFF2-40B4-BE49-F238E27FC236}">
                <a16:creationId xmlns:a16="http://schemas.microsoft.com/office/drawing/2014/main" id="{5ECA75D2-4854-57E1-9B41-EE93FD4E8236}"/>
              </a:ext>
            </a:extLst>
          </p:cNvPr>
          <p:cNvSpPr/>
          <p:nvPr/>
        </p:nvSpPr>
        <p:spPr>
          <a:xfrm>
            <a:off x="9638177" y="2991161"/>
            <a:ext cx="767639" cy="76763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36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FE20AC0C-DC3F-FBE9-9771-308FBE002D0A}"/>
              </a:ext>
            </a:extLst>
          </p:cNvPr>
          <p:cNvSpPr/>
          <p:nvPr/>
        </p:nvSpPr>
        <p:spPr>
          <a:xfrm>
            <a:off x="9806663" y="3211093"/>
            <a:ext cx="430679" cy="327764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1126073">
              <a:defRPr/>
            </a:pPr>
            <a:endParaRPr lang="en-IN" sz="36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5" name="Shape4_20210427_203713">
            <a:extLst>
              <a:ext uri="{FF2B5EF4-FFF2-40B4-BE49-F238E27FC236}">
                <a16:creationId xmlns:a16="http://schemas.microsoft.com/office/drawing/2014/main" id="{C3604D46-DA28-2EB0-77BD-340749E28E19}"/>
              </a:ext>
            </a:extLst>
          </p:cNvPr>
          <p:cNvSpPr/>
          <p:nvPr/>
        </p:nvSpPr>
        <p:spPr>
          <a:xfrm>
            <a:off x="2160551" y="6119707"/>
            <a:ext cx="6331626" cy="369332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24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6" name="Shape2_20220517_164050">
            <a:extLst>
              <a:ext uri="{FF2B5EF4-FFF2-40B4-BE49-F238E27FC236}">
                <a16:creationId xmlns:a16="http://schemas.microsoft.com/office/drawing/2014/main" id="{EA1DC5CF-9741-25A0-552A-C6811BB9F7CE}"/>
              </a:ext>
            </a:extLst>
          </p:cNvPr>
          <p:cNvSpPr/>
          <p:nvPr/>
        </p:nvSpPr>
        <p:spPr>
          <a:xfrm>
            <a:off x="1098392" y="5920549"/>
            <a:ext cx="767639" cy="76763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36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791E62FF-8EE7-11E1-F7DC-1AD5A2CAC92B}"/>
              </a:ext>
            </a:extLst>
          </p:cNvPr>
          <p:cNvSpPr/>
          <p:nvPr/>
        </p:nvSpPr>
        <p:spPr>
          <a:xfrm>
            <a:off x="1266881" y="6140486"/>
            <a:ext cx="430679" cy="327764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1126073">
              <a:defRPr/>
            </a:pPr>
            <a:endParaRPr lang="en-IN" sz="36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8" name="Shape7_20210427_203713">
            <a:extLst>
              <a:ext uri="{FF2B5EF4-FFF2-40B4-BE49-F238E27FC236}">
                <a16:creationId xmlns:a16="http://schemas.microsoft.com/office/drawing/2014/main" id="{776F2F20-B4C3-819C-96DE-1326B237ECBE}"/>
              </a:ext>
            </a:extLst>
          </p:cNvPr>
          <p:cNvSpPr/>
          <p:nvPr/>
        </p:nvSpPr>
        <p:spPr>
          <a:xfrm>
            <a:off x="10693871" y="6119707"/>
            <a:ext cx="6331626" cy="369332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24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9" name="Shape3_20220517_164050">
            <a:extLst>
              <a:ext uri="{FF2B5EF4-FFF2-40B4-BE49-F238E27FC236}">
                <a16:creationId xmlns:a16="http://schemas.microsoft.com/office/drawing/2014/main" id="{5EB103EE-DBEA-A9EB-A312-074F04EA5C17}"/>
              </a:ext>
            </a:extLst>
          </p:cNvPr>
          <p:cNvSpPr/>
          <p:nvPr/>
        </p:nvSpPr>
        <p:spPr>
          <a:xfrm>
            <a:off x="9638177" y="5920549"/>
            <a:ext cx="767639" cy="76763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36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6E332FF1-7B82-C818-69D1-5F4BDCBD8527}"/>
              </a:ext>
            </a:extLst>
          </p:cNvPr>
          <p:cNvSpPr/>
          <p:nvPr/>
        </p:nvSpPr>
        <p:spPr>
          <a:xfrm>
            <a:off x="9806663" y="6140486"/>
            <a:ext cx="430679" cy="327764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1126073">
              <a:defRPr/>
            </a:pPr>
            <a:endParaRPr lang="en-IN" sz="36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968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4</TotalTime>
  <Words>16</Words>
  <Application>Microsoft Office PowerPoint</Application>
  <PresentationFormat>Custom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11</cp:revision>
  <dcterms:created xsi:type="dcterms:W3CDTF">2006-08-16T00:00:00Z</dcterms:created>
  <dcterms:modified xsi:type="dcterms:W3CDTF">2025-10-06T10:19:30Z</dcterms:modified>
  <cp:category/>
  <dc:identifier>DAGkDf5R9EM</dc:identifier>
</cp:coreProperties>
</file>